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354" r:id="rId2"/>
    <p:sldId id="370" r:id="rId3"/>
    <p:sldId id="374" r:id="rId4"/>
    <p:sldId id="376" r:id="rId5"/>
    <p:sldId id="375" r:id="rId6"/>
    <p:sldId id="381" r:id="rId7"/>
    <p:sldId id="379" r:id="rId8"/>
    <p:sldId id="380" r:id="rId9"/>
    <p:sldId id="372" r:id="rId10"/>
    <p:sldId id="373" r:id="rId11"/>
    <p:sldId id="377" r:id="rId12"/>
    <p:sldId id="382" r:id="rId13"/>
  </p:sldIdLst>
  <p:sldSz cx="12192000" cy="6858000"/>
  <p:notesSz cx="6858000" cy="91440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thias Zeeb" initials="MZ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66"/>
    <a:srgbClr val="00CCFF"/>
    <a:srgbClr val="8DD781"/>
    <a:srgbClr val="66FF66"/>
    <a:srgbClr val="D32629"/>
    <a:srgbClr val="7030A0"/>
    <a:srgbClr val="000033"/>
    <a:srgbClr val="FEFB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463" autoAdjust="0"/>
    <p:restoredTop sz="94864"/>
  </p:normalViewPr>
  <p:slideViewPr>
    <p:cSldViewPr>
      <p:cViewPr varScale="1">
        <p:scale>
          <a:sx n="113" d="100"/>
          <a:sy n="113" d="100"/>
        </p:scale>
        <p:origin x="184" y="224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/Users/lauralj2/Documents/Laura%20Work/ISSPOL%20Ecuador/SOA%20mortality%20analysis/ISSPOL%20mortality-analysis%20v03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/Users/lauralj2/Documents/Laura%20Work/ISSPOL%20Ecuador/SOA%20mortality%20analysis/ISSPOL%20mortality-analysis%20v03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6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en-GB" sz="1200" b="0" i="0" u="none" strike="noStrike" baseline="0">
                <a:solidFill>
                  <a:srgbClr val="000000"/>
                </a:solidFill>
                <a:latin typeface="Calibri" pitchFamily="2" charset="0"/>
                <a:cs typeface="Calibri" pitchFamily="2" charset="0"/>
              </a:rPr>
              <a:t>Chart 1. Ratio of Actual to Expected Deaths 2019</a:t>
            </a:r>
          </a:p>
          <a:p>
            <a:pPr>
              <a:defRPr sz="16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en-GB" sz="1200" b="0" i="0" u="none" strike="noStrike" baseline="0">
                <a:solidFill>
                  <a:srgbClr val="000000"/>
                </a:solidFill>
                <a:latin typeface="Calibri" pitchFamily="2" charset="0"/>
                <a:cs typeface="Calibri" pitchFamily="2" charset="0"/>
              </a:rPr>
              <a:t>(using counts)</a:t>
            </a:r>
          </a:p>
        </c:rich>
      </c:tx>
      <c:layout>
        <c:manualLayout>
          <c:xMode val="edge"/>
          <c:yMode val="edge"/>
          <c:x val="0.16516135393630357"/>
          <c:y val="2.935005624296963E-2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10580651827527601"/>
          <c:y val="0.13836506314912403"/>
          <c:w val="0.8838715246166361"/>
          <c:h val="0.78616513152911205"/>
        </c:manualLayout>
      </c:layout>
      <c:lineChart>
        <c:grouping val="standard"/>
        <c:varyColors val="0"/>
        <c:ser>
          <c:idx val="3"/>
          <c:order val="0"/>
          <c:spPr>
            <a:ln w="19050">
              <a:noFill/>
            </a:ln>
          </c:spPr>
          <c:marker>
            <c:symbol val="diamond"/>
            <c:size val="5"/>
            <c:spPr>
              <a:solidFill>
                <a:srgbClr val="DD0806"/>
              </a:solidFill>
              <a:ln>
                <a:solidFill>
                  <a:srgbClr val="DD0806"/>
                </a:solidFill>
                <a:prstDash val="solid"/>
              </a:ln>
            </c:spPr>
          </c:marker>
          <c:cat>
            <c:numRef>
              <c:f>'Counts (2019)'!$A$13:$A$68</c:f>
              <c:numCache>
                <c:formatCode>_(* #\ ##0_);_(* \(#\ ##0\);_(* "-"??_);_(@_)</c:formatCode>
                <c:ptCount val="56"/>
                <c:pt idx="0">
                  <c:v>50</c:v>
                </c:pt>
                <c:pt idx="1">
                  <c:v>51</c:v>
                </c:pt>
                <c:pt idx="2">
                  <c:v>52</c:v>
                </c:pt>
                <c:pt idx="3">
                  <c:v>53</c:v>
                </c:pt>
                <c:pt idx="4">
                  <c:v>54</c:v>
                </c:pt>
                <c:pt idx="5">
                  <c:v>55</c:v>
                </c:pt>
                <c:pt idx="6">
                  <c:v>56</c:v>
                </c:pt>
                <c:pt idx="7">
                  <c:v>57</c:v>
                </c:pt>
                <c:pt idx="8">
                  <c:v>58</c:v>
                </c:pt>
                <c:pt idx="9">
                  <c:v>59</c:v>
                </c:pt>
                <c:pt idx="10">
                  <c:v>60</c:v>
                </c:pt>
                <c:pt idx="11">
                  <c:v>61</c:v>
                </c:pt>
                <c:pt idx="12">
                  <c:v>62</c:v>
                </c:pt>
                <c:pt idx="13">
                  <c:v>63</c:v>
                </c:pt>
                <c:pt idx="14">
                  <c:v>64</c:v>
                </c:pt>
                <c:pt idx="15">
                  <c:v>65</c:v>
                </c:pt>
                <c:pt idx="16">
                  <c:v>66</c:v>
                </c:pt>
                <c:pt idx="17">
                  <c:v>67</c:v>
                </c:pt>
                <c:pt idx="18">
                  <c:v>68</c:v>
                </c:pt>
                <c:pt idx="19">
                  <c:v>69</c:v>
                </c:pt>
                <c:pt idx="20">
                  <c:v>70</c:v>
                </c:pt>
                <c:pt idx="21">
                  <c:v>71</c:v>
                </c:pt>
                <c:pt idx="22">
                  <c:v>72</c:v>
                </c:pt>
                <c:pt idx="23">
                  <c:v>73</c:v>
                </c:pt>
                <c:pt idx="24">
                  <c:v>74</c:v>
                </c:pt>
                <c:pt idx="25">
                  <c:v>75</c:v>
                </c:pt>
                <c:pt idx="26">
                  <c:v>76</c:v>
                </c:pt>
                <c:pt idx="27">
                  <c:v>77</c:v>
                </c:pt>
                <c:pt idx="28">
                  <c:v>78</c:v>
                </c:pt>
                <c:pt idx="29">
                  <c:v>79</c:v>
                </c:pt>
                <c:pt idx="30">
                  <c:v>80</c:v>
                </c:pt>
                <c:pt idx="31">
                  <c:v>81</c:v>
                </c:pt>
                <c:pt idx="32">
                  <c:v>82</c:v>
                </c:pt>
                <c:pt idx="33">
                  <c:v>83</c:v>
                </c:pt>
                <c:pt idx="34">
                  <c:v>84</c:v>
                </c:pt>
                <c:pt idx="35">
                  <c:v>85</c:v>
                </c:pt>
                <c:pt idx="36">
                  <c:v>86</c:v>
                </c:pt>
                <c:pt idx="37">
                  <c:v>87</c:v>
                </c:pt>
                <c:pt idx="38">
                  <c:v>88</c:v>
                </c:pt>
                <c:pt idx="39">
                  <c:v>89</c:v>
                </c:pt>
                <c:pt idx="40">
                  <c:v>90</c:v>
                </c:pt>
                <c:pt idx="41">
                  <c:v>91</c:v>
                </c:pt>
                <c:pt idx="42">
                  <c:v>92</c:v>
                </c:pt>
                <c:pt idx="43">
                  <c:v>93</c:v>
                </c:pt>
                <c:pt idx="44">
                  <c:v>94</c:v>
                </c:pt>
                <c:pt idx="45">
                  <c:v>95</c:v>
                </c:pt>
                <c:pt idx="46">
                  <c:v>96</c:v>
                </c:pt>
                <c:pt idx="47">
                  <c:v>97</c:v>
                </c:pt>
                <c:pt idx="48">
                  <c:v>98</c:v>
                </c:pt>
                <c:pt idx="49">
                  <c:v>99</c:v>
                </c:pt>
                <c:pt idx="50">
                  <c:v>100</c:v>
                </c:pt>
                <c:pt idx="51">
                  <c:v>101</c:v>
                </c:pt>
                <c:pt idx="52">
                  <c:v>102</c:v>
                </c:pt>
                <c:pt idx="53">
                  <c:v>103</c:v>
                </c:pt>
                <c:pt idx="54">
                  <c:v>104</c:v>
                </c:pt>
                <c:pt idx="55">
                  <c:v>105</c:v>
                </c:pt>
              </c:numCache>
            </c:numRef>
          </c:cat>
          <c:val>
            <c:numRef>
              <c:f>'Counts (2019)'!$H$13:$H$68</c:f>
              <c:numCache>
                <c:formatCode>_(* #,##0.00_);_(* \(#,##0.00\);_(* "-"??_);_(@_)</c:formatCode>
                <c:ptCount val="56"/>
                <c:pt idx="0">
                  <c:v>1.03</c:v>
                </c:pt>
                <c:pt idx="1">
                  <c:v>0</c:v>
                </c:pt>
                <c:pt idx="2">
                  <c:v>0</c:v>
                </c:pt>
                <c:pt idx="3">
                  <c:v>0.72</c:v>
                </c:pt>
                <c:pt idx="4">
                  <c:v>0.57999999999999996</c:v>
                </c:pt>
                <c:pt idx="5">
                  <c:v>0.55000000000000004</c:v>
                </c:pt>
                <c:pt idx="6">
                  <c:v>2.0699999999999998</c:v>
                </c:pt>
                <c:pt idx="7">
                  <c:v>0</c:v>
                </c:pt>
                <c:pt idx="8">
                  <c:v>0</c:v>
                </c:pt>
                <c:pt idx="9">
                  <c:v>1.34</c:v>
                </c:pt>
                <c:pt idx="10">
                  <c:v>0.63</c:v>
                </c:pt>
                <c:pt idx="11">
                  <c:v>1</c:v>
                </c:pt>
                <c:pt idx="12">
                  <c:v>0.96</c:v>
                </c:pt>
                <c:pt idx="13">
                  <c:v>2.08</c:v>
                </c:pt>
                <c:pt idx="14">
                  <c:v>1.07</c:v>
                </c:pt>
                <c:pt idx="15">
                  <c:v>1.6</c:v>
                </c:pt>
                <c:pt idx="16">
                  <c:v>1.29</c:v>
                </c:pt>
                <c:pt idx="17">
                  <c:v>0.93</c:v>
                </c:pt>
                <c:pt idx="18">
                  <c:v>1.1100000000000001</c:v>
                </c:pt>
                <c:pt idx="19">
                  <c:v>0.91</c:v>
                </c:pt>
                <c:pt idx="20">
                  <c:v>1.37</c:v>
                </c:pt>
                <c:pt idx="21">
                  <c:v>1.06</c:v>
                </c:pt>
                <c:pt idx="22">
                  <c:v>1.0900000000000001</c:v>
                </c:pt>
                <c:pt idx="23">
                  <c:v>1.65</c:v>
                </c:pt>
                <c:pt idx="24">
                  <c:v>1.0900000000000001</c:v>
                </c:pt>
                <c:pt idx="25">
                  <c:v>0.38</c:v>
                </c:pt>
                <c:pt idx="26">
                  <c:v>1.07</c:v>
                </c:pt>
                <c:pt idx="27">
                  <c:v>0.95</c:v>
                </c:pt>
                <c:pt idx="28">
                  <c:v>0.67</c:v>
                </c:pt>
                <c:pt idx="29">
                  <c:v>0.8</c:v>
                </c:pt>
                <c:pt idx="30">
                  <c:v>1.34</c:v>
                </c:pt>
                <c:pt idx="31">
                  <c:v>0.76</c:v>
                </c:pt>
                <c:pt idx="32">
                  <c:v>0.46</c:v>
                </c:pt>
                <c:pt idx="33">
                  <c:v>1.1100000000000001</c:v>
                </c:pt>
                <c:pt idx="34">
                  <c:v>0.61</c:v>
                </c:pt>
                <c:pt idx="35">
                  <c:v>1.21</c:v>
                </c:pt>
                <c:pt idx="36">
                  <c:v>1.24</c:v>
                </c:pt>
                <c:pt idx="37">
                  <c:v>1.1499999999999999</c:v>
                </c:pt>
                <c:pt idx="38">
                  <c:v>1.83</c:v>
                </c:pt>
                <c:pt idx="39">
                  <c:v>0.81</c:v>
                </c:pt>
                <c:pt idx="40">
                  <c:v>0.74</c:v>
                </c:pt>
                <c:pt idx="41">
                  <c:v>0.62</c:v>
                </c:pt>
                <c:pt idx="42">
                  <c:v>0.71</c:v>
                </c:pt>
                <c:pt idx="43">
                  <c:v>0.78</c:v>
                </c:pt>
                <c:pt idx="44">
                  <c:v>0.46</c:v>
                </c:pt>
                <c:pt idx="45">
                  <c:v>1.38</c:v>
                </c:pt>
                <c:pt idx="46">
                  <c:v>10.210000000000001</c:v>
                </c:pt>
                <c:pt idx="47">
                  <c:v>0.79</c:v>
                </c:pt>
                <c:pt idx="48">
                  <c:v>0</c:v>
                </c:pt>
                <c:pt idx="49">
                  <c:v>4.16</c:v>
                </c:pt>
                <c:pt idx="50">
                  <c:v>3.92</c:v>
                </c:pt>
                <c:pt idx="51">
                  <c:v>3.71</c:v>
                </c:pt>
                <c:pt idx="52">
                  <c:v>1.77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0E1-F147-84F6-4E9263FB47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54526272"/>
        <c:axId val="1"/>
      </c:lineChart>
      <c:catAx>
        <c:axId val="954526272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95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GB"/>
                  <a:t>Age</a:t>
                </a:r>
              </a:p>
            </c:rich>
          </c:tx>
          <c:layout>
            <c:manualLayout>
              <c:xMode val="edge"/>
              <c:yMode val="edge"/>
              <c:x val="0.52903258067696812"/>
              <c:y val="0.94339820022497201"/>
            </c:manualLayout>
          </c:layout>
          <c:overlay val="0"/>
          <c:spPr>
            <a:noFill/>
            <a:ln w="25400">
              <a:noFill/>
            </a:ln>
          </c:spPr>
        </c:title>
        <c:numFmt formatCode="0" sourceLinked="0"/>
        <c:majorTickMark val="none"/>
        <c:minorTickMark val="none"/>
        <c:tickLblPos val="nextTo"/>
        <c:spPr>
          <a:ln w="254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85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"/>
        <c:crossesAt val="1"/>
        <c:auto val="1"/>
        <c:lblAlgn val="ctr"/>
        <c:lblOffset val="100"/>
        <c:tickLblSkip val="5"/>
        <c:tickMarkSkip val="1"/>
        <c:noMultiLvlLbl val="0"/>
      </c:catAx>
      <c:valAx>
        <c:axId val="1"/>
        <c:scaling>
          <c:orientation val="minMax"/>
          <c:max val="12"/>
          <c:min val="-5"/>
        </c:scaling>
        <c:delete val="0"/>
        <c:axPos val="l"/>
        <c:title>
          <c:tx>
            <c:rich>
              <a:bodyPr/>
              <a:lstStyle/>
              <a:p>
                <a:pPr>
                  <a:defRPr sz="95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GB" dirty="0"/>
                  <a:t>Actual to Expected Deaths</a:t>
                </a:r>
              </a:p>
            </c:rich>
          </c:tx>
          <c:layout>
            <c:manualLayout>
              <c:xMode val="edge"/>
              <c:yMode val="edge"/>
              <c:x val="3.7419323031848216E-2"/>
              <c:y val="0.35220179977502813"/>
            </c:manualLayout>
          </c:layout>
          <c:overlay val="0"/>
          <c:spPr>
            <a:noFill/>
            <a:ln w="25400">
              <a:noFill/>
            </a:ln>
          </c:spPr>
        </c:title>
        <c:numFmt formatCode="0" sourceLinked="0"/>
        <c:majorTickMark val="out"/>
        <c:minorTickMark val="in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95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954526272"/>
        <c:crosses val="autoZero"/>
        <c:crossBetween val="between"/>
        <c:majorUnit val="1"/>
        <c:minorUnit val="1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6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6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en-GB" sz="1200" b="0" i="0" u="none" strike="noStrike" baseline="0" dirty="0">
                <a:solidFill>
                  <a:srgbClr val="000000"/>
                </a:solidFill>
                <a:latin typeface="Calibri" pitchFamily="2" charset="0"/>
                <a:cs typeface="Calibri" pitchFamily="2" charset="0"/>
              </a:rPr>
              <a:t>Chart 2. Ratio of Actual to Expected Deaths 2020</a:t>
            </a:r>
          </a:p>
          <a:p>
            <a:pPr>
              <a:defRPr sz="16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en-GB" sz="1200" b="0" i="0" u="none" strike="noStrike" baseline="0" dirty="0">
                <a:solidFill>
                  <a:srgbClr val="000000"/>
                </a:solidFill>
                <a:latin typeface="Calibri" pitchFamily="2" charset="0"/>
                <a:cs typeface="Calibri" pitchFamily="2" charset="0"/>
              </a:rPr>
              <a:t>(using counts)</a:t>
            </a:r>
          </a:p>
        </c:rich>
      </c:tx>
      <c:layout>
        <c:manualLayout>
          <c:xMode val="edge"/>
          <c:yMode val="edge"/>
          <c:x val="0.16516135393630357"/>
          <c:y val="2.935005624296963E-2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10580651827527601"/>
          <c:y val="0.13836506314912403"/>
          <c:w val="0.8838715246166361"/>
          <c:h val="0.78616513152911205"/>
        </c:manualLayout>
      </c:layout>
      <c:lineChart>
        <c:grouping val="standard"/>
        <c:varyColors val="0"/>
        <c:ser>
          <c:idx val="3"/>
          <c:order val="0"/>
          <c:spPr>
            <a:ln w="19050">
              <a:noFill/>
            </a:ln>
          </c:spPr>
          <c:marker>
            <c:symbol val="diamond"/>
            <c:size val="5"/>
            <c:spPr>
              <a:solidFill>
                <a:srgbClr val="DD0806"/>
              </a:solidFill>
              <a:ln>
                <a:solidFill>
                  <a:srgbClr val="DD0806"/>
                </a:solidFill>
                <a:prstDash val="solid"/>
              </a:ln>
            </c:spPr>
          </c:marker>
          <c:cat>
            <c:numRef>
              <c:f>'Counts (2020)'!$A$13:$A$68</c:f>
              <c:numCache>
                <c:formatCode>_(* #\ ##0_);_(* \(#\ ##0\);_(* "-"??_);_(@_)</c:formatCode>
                <c:ptCount val="56"/>
                <c:pt idx="0">
                  <c:v>50</c:v>
                </c:pt>
                <c:pt idx="1">
                  <c:v>51</c:v>
                </c:pt>
                <c:pt idx="2">
                  <c:v>52</c:v>
                </c:pt>
                <c:pt idx="3">
                  <c:v>53</c:v>
                </c:pt>
                <c:pt idx="4">
                  <c:v>54</c:v>
                </c:pt>
                <c:pt idx="5">
                  <c:v>55</c:v>
                </c:pt>
                <c:pt idx="6">
                  <c:v>56</c:v>
                </c:pt>
                <c:pt idx="7">
                  <c:v>57</c:v>
                </c:pt>
                <c:pt idx="8">
                  <c:v>58</c:v>
                </c:pt>
                <c:pt idx="9">
                  <c:v>59</c:v>
                </c:pt>
                <c:pt idx="10">
                  <c:v>60</c:v>
                </c:pt>
                <c:pt idx="11">
                  <c:v>61</c:v>
                </c:pt>
                <c:pt idx="12">
                  <c:v>62</c:v>
                </c:pt>
                <c:pt idx="13">
                  <c:v>63</c:v>
                </c:pt>
                <c:pt idx="14">
                  <c:v>64</c:v>
                </c:pt>
                <c:pt idx="15">
                  <c:v>65</c:v>
                </c:pt>
                <c:pt idx="16">
                  <c:v>66</c:v>
                </c:pt>
                <c:pt idx="17">
                  <c:v>67</c:v>
                </c:pt>
                <c:pt idx="18">
                  <c:v>68</c:v>
                </c:pt>
                <c:pt idx="19">
                  <c:v>69</c:v>
                </c:pt>
                <c:pt idx="20">
                  <c:v>70</c:v>
                </c:pt>
                <c:pt idx="21">
                  <c:v>71</c:v>
                </c:pt>
                <c:pt idx="22">
                  <c:v>72</c:v>
                </c:pt>
                <c:pt idx="23">
                  <c:v>73</c:v>
                </c:pt>
                <c:pt idx="24">
                  <c:v>74</c:v>
                </c:pt>
                <c:pt idx="25">
                  <c:v>75</c:v>
                </c:pt>
                <c:pt idx="26">
                  <c:v>76</c:v>
                </c:pt>
                <c:pt idx="27">
                  <c:v>77</c:v>
                </c:pt>
                <c:pt idx="28">
                  <c:v>78</c:v>
                </c:pt>
                <c:pt idx="29">
                  <c:v>79</c:v>
                </c:pt>
                <c:pt idx="30">
                  <c:v>80</c:v>
                </c:pt>
                <c:pt idx="31">
                  <c:v>81</c:v>
                </c:pt>
                <c:pt idx="32">
                  <c:v>82</c:v>
                </c:pt>
                <c:pt idx="33">
                  <c:v>83</c:v>
                </c:pt>
                <c:pt idx="34">
                  <c:v>84</c:v>
                </c:pt>
                <c:pt idx="35">
                  <c:v>85</c:v>
                </c:pt>
                <c:pt idx="36">
                  <c:v>86</c:v>
                </c:pt>
                <c:pt idx="37">
                  <c:v>87</c:v>
                </c:pt>
                <c:pt idx="38">
                  <c:v>88</c:v>
                </c:pt>
                <c:pt idx="39">
                  <c:v>89</c:v>
                </c:pt>
                <c:pt idx="40">
                  <c:v>90</c:v>
                </c:pt>
                <c:pt idx="41">
                  <c:v>91</c:v>
                </c:pt>
                <c:pt idx="42">
                  <c:v>92</c:v>
                </c:pt>
                <c:pt idx="43">
                  <c:v>93</c:v>
                </c:pt>
                <c:pt idx="44">
                  <c:v>94</c:v>
                </c:pt>
                <c:pt idx="45">
                  <c:v>95</c:v>
                </c:pt>
                <c:pt idx="46">
                  <c:v>96</c:v>
                </c:pt>
                <c:pt idx="47">
                  <c:v>97</c:v>
                </c:pt>
                <c:pt idx="48">
                  <c:v>98</c:v>
                </c:pt>
                <c:pt idx="49">
                  <c:v>99</c:v>
                </c:pt>
                <c:pt idx="50">
                  <c:v>100</c:v>
                </c:pt>
                <c:pt idx="51">
                  <c:v>101</c:v>
                </c:pt>
                <c:pt idx="52">
                  <c:v>102</c:v>
                </c:pt>
                <c:pt idx="53">
                  <c:v>103</c:v>
                </c:pt>
                <c:pt idx="54">
                  <c:v>104</c:v>
                </c:pt>
                <c:pt idx="55">
                  <c:v>105</c:v>
                </c:pt>
              </c:numCache>
            </c:numRef>
          </c:cat>
          <c:val>
            <c:numRef>
              <c:f>'Counts (2020)'!$H$13:$H$68</c:f>
              <c:numCache>
                <c:formatCode>_(* #,##0.00_);_(* \(#,##0.00\);_(* "-"??_);_(@_)</c:formatCode>
                <c:ptCount val="56"/>
                <c:pt idx="0">
                  <c:v>1.68</c:v>
                </c:pt>
                <c:pt idx="1">
                  <c:v>0.9</c:v>
                </c:pt>
                <c:pt idx="2">
                  <c:v>0.82</c:v>
                </c:pt>
                <c:pt idx="3">
                  <c:v>0</c:v>
                </c:pt>
                <c:pt idx="4">
                  <c:v>1.28</c:v>
                </c:pt>
                <c:pt idx="5">
                  <c:v>2.6</c:v>
                </c:pt>
                <c:pt idx="6">
                  <c:v>5.0199999999999996</c:v>
                </c:pt>
                <c:pt idx="7">
                  <c:v>3.26</c:v>
                </c:pt>
                <c:pt idx="8">
                  <c:v>1.69</c:v>
                </c:pt>
                <c:pt idx="9">
                  <c:v>2.7</c:v>
                </c:pt>
                <c:pt idx="10">
                  <c:v>2.76</c:v>
                </c:pt>
                <c:pt idx="11">
                  <c:v>3.49</c:v>
                </c:pt>
                <c:pt idx="12">
                  <c:v>4.67</c:v>
                </c:pt>
                <c:pt idx="13">
                  <c:v>3.9</c:v>
                </c:pt>
                <c:pt idx="14">
                  <c:v>3.34</c:v>
                </c:pt>
                <c:pt idx="15">
                  <c:v>3.73</c:v>
                </c:pt>
                <c:pt idx="16">
                  <c:v>4.2699999999999996</c:v>
                </c:pt>
                <c:pt idx="17">
                  <c:v>3.34</c:v>
                </c:pt>
                <c:pt idx="18">
                  <c:v>2.4700000000000002</c:v>
                </c:pt>
                <c:pt idx="19">
                  <c:v>2.84</c:v>
                </c:pt>
                <c:pt idx="20">
                  <c:v>1.71</c:v>
                </c:pt>
                <c:pt idx="21">
                  <c:v>2.25</c:v>
                </c:pt>
                <c:pt idx="22">
                  <c:v>3.19</c:v>
                </c:pt>
                <c:pt idx="23">
                  <c:v>3.36</c:v>
                </c:pt>
                <c:pt idx="24">
                  <c:v>2.83</c:v>
                </c:pt>
                <c:pt idx="25">
                  <c:v>2.6</c:v>
                </c:pt>
                <c:pt idx="26">
                  <c:v>2.39</c:v>
                </c:pt>
                <c:pt idx="27">
                  <c:v>2.76</c:v>
                </c:pt>
                <c:pt idx="28">
                  <c:v>2.21</c:v>
                </c:pt>
                <c:pt idx="29">
                  <c:v>2.1</c:v>
                </c:pt>
                <c:pt idx="30">
                  <c:v>1.68</c:v>
                </c:pt>
                <c:pt idx="31">
                  <c:v>2</c:v>
                </c:pt>
                <c:pt idx="32">
                  <c:v>2.62</c:v>
                </c:pt>
                <c:pt idx="33">
                  <c:v>1.08</c:v>
                </c:pt>
                <c:pt idx="34">
                  <c:v>3.37</c:v>
                </c:pt>
                <c:pt idx="35">
                  <c:v>1.71</c:v>
                </c:pt>
                <c:pt idx="36">
                  <c:v>1.7</c:v>
                </c:pt>
                <c:pt idx="37">
                  <c:v>0.97</c:v>
                </c:pt>
                <c:pt idx="38">
                  <c:v>1.95</c:v>
                </c:pt>
                <c:pt idx="39">
                  <c:v>1.1200000000000001</c:v>
                </c:pt>
                <c:pt idx="40">
                  <c:v>1.31</c:v>
                </c:pt>
                <c:pt idx="41">
                  <c:v>1.1100000000000001</c:v>
                </c:pt>
                <c:pt idx="42">
                  <c:v>1.46</c:v>
                </c:pt>
                <c:pt idx="43">
                  <c:v>1.25</c:v>
                </c:pt>
                <c:pt idx="44">
                  <c:v>1.26</c:v>
                </c:pt>
                <c:pt idx="45">
                  <c:v>3.86</c:v>
                </c:pt>
                <c:pt idx="46">
                  <c:v>3.19</c:v>
                </c:pt>
                <c:pt idx="47">
                  <c:v>4.74</c:v>
                </c:pt>
                <c:pt idx="48">
                  <c:v>3.32</c:v>
                </c:pt>
                <c:pt idx="49">
                  <c:v>2.08</c:v>
                </c:pt>
                <c:pt idx="50">
                  <c:v>3.92</c:v>
                </c:pt>
                <c:pt idx="51">
                  <c:v>0</c:v>
                </c:pt>
                <c:pt idx="52">
                  <c:v>0</c:v>
                </c:pt>
                <c:pt idx="53">
                  <c:v>1.69</c:v>
                </c:pt>
                <c:pt idx="54">
                  <c:v>6.5</c:v>
                </c:pt>
                <c:pt idx="55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EAD-E341-A31A-708D1CF31C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54526272"/>
        <c:axId val="1"/>
      </c:lineChart>
      <c:catAx>
        <c:axId val="954526272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95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GB"/>
                  <a:t>Age</a:t>
                </a:r>
              </a:p>
            </c:rich>
          </c:tx>
          <c:layout>
            <c:manualLayout>
              <c:xMode val="edge"/>
              <c:yMode val="edge"/>
              <c:x val="0.52903258067696812"/>
              <c:y val="0.94339820022497201"/>
            </c:manualLayout>
          </c:layout>
          <c:overlay val="0"/>
          <c:spPr>
            <a:noFill/>
            <a:ln w="25400">
              <a:noFill/>
            </a:ln>
          </c:spPr>
        </c:title>
        <c:numFmt formatCode="0" sourceLinked="0"/>
        <c:majorTickMark val="none"/>
        <c:minorTickMark val="none"/>
        <c:tickLblPos val="nextTo"/>
        <c:spPr>
          <a:ln w="254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85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"/>
        <c:crossesAt val="1"/>
        <c:auto val="1"/>
        <c:lblAlgn val="ctr"/>
        <c:lblOffset val="100"/>
        <c:tickLblSkip val="5"/>
        <c:tickMarkSkip val="1"/>
        <c:noMultiLvlLbl val="0"/>
      </c:catAx>
      <c:valAx>
        <c:axId val="1"/>
        <c:scaling>
          <c:orientation val="minMax"/>
          <c:max val="12"/>
          <c:min val="-5"/>
        </c:scaling>
        <c:delete val="0"/>
        <c:axPos val="l"/>
        <c:title>
          <c:tx>
            <c:rich>
              <a:bodyPr/>
              <a:lstStyle/>
              <a:p>
                <a:pPr>
                  <a:defRPr sz="95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GB"/>
                  <a:t>Actual to Expected Deaths</a:t>
                </a:r>
              </a:p>
            </c:rich>
          </c:tx>
          <c:layout>
            <c:manualLayout>
              <c:xMode val="edge"/>
              <c:yMode val="edge"/>
              <c:x val="3.7419323031848216E-2"/>
              <c:y val="0.35220179977502813"/>
            </c:manualLayout>
          </c:layout>
          <c:overlay val="0"/>
          <c:spPr>
            <a:noFill/>
            <a:ln w="25400">
              <a:noFill/>
            </a:ln>
          </c:spPr>
        </c:title>
        <c:numFmt formatCode="0" sourceLinked="0"/>
        <c:majorTickMark val="out"/>
        <c:minorTickMark val="in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95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954526272"/>
        <c:crosses val="autoZero"/>
        <c:crossBetween val="between"/>
        <c:majorUnit val="1"/>
        <c:minorUnit val="1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rgbClr val="FFFFFF"/>
    </a:solidFill>
    <a:ln w="3175">
      <a:solidFill>
        <a:srgbClr val="000000"/>
      </a:solidFill>
      <a:prstDash val="solid"/>
    </a:ln>
  </c:spPr>
  <c:txPr>
    <a:bodyPr/>
    <a:lstStyle/>
    <a:p>
      <a:pPr>
        <a:defRPr sz="16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79EF9C-C7F8-483D-9D16-047FE5FA6C0B}" type="datetimeFigureOut">
              <a:rPr lang="en-GB" smtClean="0"/>
              <a:t>27/05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FCF94A-836C-4071-8E11-8DCF04AE637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15798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effectLst>
            <a:outerShdw blurRad="50800" dist="50800" dir="5400000" algn="ctr" rotWithShape="0">
              <a:srgbClr val="FEFBFB"/>
            </a:outerShdw>
          </a:effectLst>
        </p:spPr>
        <p:txBody>
          <a:bodyPr/>
          <a:lstStyle>
            <a:lvl1pPr marL="342908" indent="-342908">
              <a:buClr>
                <a:srgbClr val="D32C2D"/>
              </a:buClr>
              <a:buFont typeface="Wingdings" panose="05000000000000000000" pitchFamily="2" charset="2"/>
              <a:buChar char="§"/>
              <a:defRPr sz="28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45F3A1-FAC7-4FC9-A9FD-F563E7DFCC18}" type="slidenum">
              <a:rPr lang="de-DE" altLang="en-US"/>
              <a:pPr/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0559196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617250"/>
            <a:ext cx="3860800" cy="196131"/>
          </a:xfrm>
          <a:ln/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r>
              <a:rPr lang="de-DE" dirty="0"/>
              <a:t>Version 5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617250"/>
            <a:ext cx="2844800" cy="196131"/>
          </a:xfrm>
          <a:ln/>
        </p:spPr>
        <p:txBody>
          <a:bodyPr/>
          <a:lstStyle>
            <a:lvl1pPr>
              <a:defRPr sz="1100" baseline="0"/>
            </a:lvl1pPr>
          </a:lstStyle>
          <a:p>
            <a:r>
              <a:rPr lang="de-DE" altLang="en-US" dirty="0"/>
              <a:t>Page </a:t>
            </a:r>
            <a:fld id="{98480D6B-9298-4DBB-815E-BAAEC977312C}" type="slidenum">
              <a:rPr lang="de-DE" altLang="en-US" smtClean="0"/>
              <a:pPr/>
              <a:t>‹#›</a:t>
            </a:fld>
            <a:endParaRPr lang="de-DE" altLang="en-US" dirty="0"/>
          </a:p>
        </p:txBody>
      </p:sp>
    </p:spTree>
    <p:extLst>
      <p:ext uri="{BB962C8B-B14F-4D97-AF65-F5344CB8AC3E}">
        <p14:creationId xmlns:p14="http://schemas.microsoft.com/office/powerpoint/2010/main" val="26638417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6"/>
            <a:ext cx="109728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Click to edit Master text styles</a:t>
            </a:r>
          </a:p>
          <a:p>
            <a:pPr lvl="1"/>
            <a:r>
              <a:rPr lang="de-DE" altLang="en-US"/>
              <a:t>Second level</a:t>
            </a:r>
          </a:p>
          <a:p>
            <a:pPr lvl="2"/>
            <a:r>
              <a:rPr lang="de-DE" altLang="en-US"/>
              <a:t>Third level</a:t>
            </a:r>
          </a:p>
          <a:p>
            <a:pPr lvl="3"/>
            <a:r>
              <a:rPr lang="de-DE" altLang="en-US"/>
              <a:t>Fourth level</a:t>
            </a:r>
          </a:p>
          <a:p>
            <a:pPr lvl="4"/>
            <a:r>
              <a:rPr lang="de-DE" altLang="en-US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smtClean="0">
                <a:latin typeface="Arial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smtClean="0">
                <a:latin typeface="Arial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fld id="{F8395CC0-3D9C-4E28-9744-7A389320CF6A}" type="slidenum">
              <a:rPr lang="de-DE" altLang="en-US"/>
              <a:pPr/>
              <a:t>‹#›</a:t>
            </a:fld>
            <a:endParaRPr lang="de-DE" altLang="en-US" dirty="0"/>
          </a:p>
        </p:txBody>
      </p:sp>
      <p:pic>
        <p:nvPicPr>
          <p:cNvPr id="9" name="Picture 22" descr="cclogo coloured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1873" y="0"/>
            <a:ext cx="866775" cy="69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3" r:id="rId2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1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1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1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1">
          <a:solidFill>
            <a:schemeClr val="tx2"/>
          </a:solidFill>
          <a:latin typeface="Arial" charset="0"/>
        </a:defRPr>
      </a:lvl5pPr>
      <a:lvl6pPr marL="457212" algn="ctr" rtl="0" fontAlgn="base">
        <a:spcBef>
          <a:spcPct val="0"/>
        </a:spcBef>
        <a:spcAft>
          <a:spcPct val="0"/>
        </a:spcAft>
        <a:defRPr sz="4401">
          <a:solidFill>
            <a:schemeClr val="tx2"/>
          </a:solidFill>
          <a:latin typeface="Arial" charset="0"/>
        </a:defRPr>
      </a:lvl6pPr>
      <a:lvl7pPr marL="914423" algn="ctr" rtl="0" fontAlgn="base">
        <a:spcBef>
          <a:spcPct val="0"/>
        </a:spcBef>
        <a:spcAft>
          <a:spcPct val="0"/>
        </a:spcAft>
        <a:defRPr sz="4401">
          <a:solidFill>
            <a:schemeClr val="tx2"/>
          </a:solidFill>
          <a:latin typeface="Arial" charset="0"/>
        </a:defRPr>
      </a:lvl7pPr>
      <a:lvl8pPr marL="1371634" algn="ctr" rtl="0" fontAlgn="base">
        <a:spcBef>
          <a:spcPct val="0"/>
        </a:spcBef>
        <a:spcAft>
          <a:spcPct val="0"/>
        </a:spcAft>
        <a:defRPr sz="4401">
          <a:solidFill>
            <a:schemeClr val="tx2"/>
          </a:solidFill>
          <a:latin typeface="Arial" charset="0"/>
        </a:defRPr>
      </a:lvl8pPr>
      <a:lvl9pPr marL="1828846" algn="ctr" rtl="0" fontAlgn="base">
        <a:spcBef>
          <a:spcPct val="0"/>
        </a:spcBef>
        <a:spcAft>
          <a:spcPct val="0"/>
        </a:spcAft>
        <a:defRPr sz="4401">
          <a:solidFill>
            <a:schemeClr val="tx2"/>
          </a:solidFill>
          <a:latin typeface="Arial" charset="0"/>
        </a:defRPr>
      </a:lvl9pPr>
    </p:titleStyle>
    <p:bodyStyle>
      <a:lvl1pPr marL="342908" indent="-342908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69" indent="-285757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28" indent="-228606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40" indent="-22860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52" indent="-22860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63" indent="-2286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74" indent="-2286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86" indent="-2286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97" indent="-2286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hyperlink" Target="https://www.african-insurance.org/Home/en" TargetMode="External"/><Relationship Id="rId5" Type="http://schemas.openxmlformats.org/officeDocument/2006/relationships/image" Target="../media/image2.png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287340" y="2060847"/>
            <a:ext cx="11641308" cy="5052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0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287340" y="6491605"/>
            <a:ext cx="11641308" cy="45719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1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7340" y="2306638"/>
            <a:ext cx="11641308" cy="35671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en-GB" altLang="en-US" sz="4600" b="1" dirty="0">
                <a:solidFill>
                  <a:schemeClr val="bg1">
                    <a:lumMod val="85000"/>
                  </a:schemeClr>
                </a:solidFill>
              </a:rPr>
              <a:t>AIO - MORTALITY </a:t>
            </a:r>
            <a:r>
              <a:rPr lang="en-US" altLang="en-US" sz="4600" b="1" dirty="0">
                <a:solidFill>
                  <a:schemeClr val="bg1">
                    <a:lumMod val="85000"/>
                  </a:schemeClr>
                </a:solidFill>
              </a:rPr>
              <a:t>TABLES</a:t>
            </a:r>
            <a:endParaRPr lang="en-US" altLang="en-US" sz="2200" dirty="0">
              <a:solidFill>
                <a:schemeClr val="bg1">
                  <a:lumMod val="85000"/>
                </a:schemeClr>
              </a:solidFill>
            </a:endParaRPr>
          </a:p>
          <a:p>
            <a:pPr algn="l">
              <a:lnSpc>
                <a:spcPct val="95000"/>
              </a:lnSpc>
            </a:pPr>
            <a:endParaRPr lang="en-US" altLang="en-US" sz="2200" dirty="0">
              <a:solidFill>
                <a:schemeClr val="bg2">
                  <a:lumMod val="60000"/>
                  <a:lumOff val="40000"/>
                </a:schemeClr>
              </a:solidFill>
            </a:endParaRPr>
          </a:p>
          <a:p>
            <a:pPr algn="l">
              <a:lnSpc>
                <a:spcPct val="95000"/>
              </a:lnSpc>
            </a:pPr>
            <a:endParaRPr lang="en-US" altLang="en-US" sz="2200" dirty="0">
              <a:solidFill>
                <a:schemeClr val="bg2">
                  <a:lumMod val="60000"/>
                  <a:lumOff val="40000"/>
                </a:schemeClr>
              </a:solidFill>
            </a:endParaRPr>
          </a:p>
          <a:p>
            <a:pPr algn="l">
              <a:lnSpc>
                <a:spcPct val="95000"/>
              </a:lnSpc>
            </a:pPr>
            <a:endParaRPr lang="en-US" altLang="en-US" sz="2200" dirty="0">
              <a:solidFill>
                <a:schemeClr val="bg2">
                  <a:lumMod val="60000"/>
                  <a:lumOff val="40000"/>
                </a:schemeClr>
              </a:solidFill>
            </a:endParaRPr>
          </a:p>
          <a:p>
            <a:pPr algn="l">
              <a:lnSpc>
                <a:spcPct val="95000"/>
              </a:lnSpc>
            </a:pPr>
            <a:endParaRPr lang="en-US" altLang="en-US" sz="2200" dirty="0">
              <a:solidFill>
                <a:schemeClr val="bg2">
                  <a:lumMod val="60000"/>
                  <a:lumOff val="40000"/>
                </a:schemeClr>
              </a:solidFill>
            </a:endParaRPr>
          </a:p>
          <a:p>
            <a:pPr algn="l">
              <a:lnSpc>
                <a:spcPct val="95000"/>
              </a:lnSpc>
            </a:pPr>
            <a:endParaRPr lang="en-US" altLang="en-US" sz="2200" dirty="0">
              <a:solidFill>
                <a:schemeClr val="bg2">
                  <a:lumMod val="60000"/>
                  <a:lumOff val="40000"/>
                </a:schemeClr>
              </a:solidFill>
            </a:endParaRPr>
          </a:p>
          <a:p>
            <a:pPr algn="l">
              <a:lnSpc>
                <a:spcPct val="95000"/>
              </a:lnSpc>
            </a:pPr>
            <a:endParaRPr lang="en-US" altLang="en-US" sz="2200" dirty="0">
              <a:solidFill>
                <a:schemeClr val="bg2">
                  <a:lumMod val="60000"/>
                  <a:lumOff val="40000"/>
                </a:schemeClr>
              </a:solidFill>
            </a:endParaRPr>
          </a:p>
          <a:p>
            <a:pPr algn="l">
              <a:lnSpc>
                <a:spcPct val="95000"/>
              </a:lnSpc>
            </a:pPr>
            <a:r>
              <a:rPr lang="en-US" altLang="en-US" sz="22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Laura Llewellyn-Jones FIA FNAS</a:t>
            </a:r>
          </a:p>
          <a:p>
            <a:pPr algn="l">
              <a:lnSpc>
                <a:spcPct val="95000"/>
              </a:lnSpc>
            </a:pPr>
            <a:r>
              <a:rPr lang="en-US" altLang="en-US" sz="22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Algeria</a:t>
            </a:r>
          </a:p>
          <a:p>
            <a:pPr algn="l">
              <a:lnSpc>
                <a:spcPct val="95000"/>
              </a:lnSpc>
            </a:pPr>
            <a:r>
              <a:rPr lang="en-US" altLang="en-US" sz="22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29 May 2023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592E147-CC01-7F89-8B1F-3FE15F0BD9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55969" y="775252"/>
            <a:ext cx="1005607" cy="1005607"/>
          </a:xfrm>
          <a:prstGeom prst="rect">
            <a:avLst/>
          </a:prstGeom>
        </p:spPr>
      </p:pic>
      <p:sp>
        <p:nvSpPr>
          <p:cNvPr id="13" name="AutoShape 2" descr="logo">
            <a:hlinkClick r:id="rId6"/>
            <a:extLst>
              <a:ext uri="{FF2B5EF4-FFF2-40B4-BE49-F238E27FC236}">
                <a16:creationId xmlns:a16="http://schemas.microsoft.com/office/drawing/2014/main" id="{BEB951C0-9B22-3325-970A-265042D3D4D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5" name="AutoShape 4" descr="logo">
            <a:hlinkClick r:id="rId6"/>
            <a:extLst>
              <a:ext uri="{FF2B5EF4-FFF2-40B4-BE49-F238E27FC236}">
                <a16:creationId xmlns:a16="http://schemas.microsoft.com/office/drawing/2014/main" id="{27C82DC8-3D1E-256C-41DF-7A3B72A3351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AutoShape 6" descr="logo">
            <a:hlinkClick r:id="rId6"/>
            <a:extLst>
              <a:ext uri="{FF2B5EF4-FFF2-40B4-BE49-F238E27FC236}">
                <a16:creationId xmlns:a16="http://schemas.microsoft.com/office/drawing/2014/main" id="{E3789F78-EA95-CD99-517A-97058255853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8400" y="3581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FC708DC-B366-7DE0-A6DE-49DBFCC3DE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7340" y="320676"/>
            <a:ext cx="1803400" cy="59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7435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51384" y="276544"/>
            <a:ext cx="99317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b="1" dirty="0"/>
              <a:t>Considerations 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45480" y="1056628"/>
            <a:ext cx="10510489" cy="7786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dirty="0"/>
              <a:t>Which tables are required? 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dirty="0"/>
              <a:t>base mortality/ allowance for improvements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dirty="0"/>
              <a:t>policy  (e.g. term assurance/ whole of life)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dirty="0"/>
              <a:t>additional tables such as disability/ critical illness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dirty="0"/>
              <a:t>Other subset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dirty="0"/>
              <a:t>Where to get data from?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dirty="0"/>
              <a:t>life companies 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dirty="0"/>
              <a:t>pension/ social security schemes 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dirty="0"/>
              <a:t>How to validate the data?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dirty="0"/>
              <a:t>comparisons with historic data/ national data/ similar countrie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40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40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40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40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4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24392" y="6597352"/>
            <a:ext cx="2311400" cy="196131"/>
          </a:xfrm>
        </p:spPr>
        <p:txBody>
          <a:bodyPr/>
          <a:lstStyle/>
          <a:p>
            <a:fld id="{98480D6B-9298-4DBB-815E-BAAEC977312C}" type="slidenum">
              <a:rPr lang="en-GB" altLang="en-US" smtClean="0"/>
              <a:pPr/>
              <a:t>10</a:t>
            </a:fld>
            <a:endParaRPr lang="en-GB" alt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9ACA1E-9672-B73A-02B8-ED2C384D82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5969" y="775252"/>
            <a:ext cx="1005607" cy="100560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1CD18CE-8A50-FE92-5FC6-139E87586C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6692" y="178352"/>
            <a:ext cx="1803400" cy="59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4661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51384" y="276544"/>
            <a:ext cx="99317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b="1" dirty="0"/>
              <a:t>Data Requirements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45480" y="1056628"/>
            <a:ext cx="10510489" cy="7109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dirty="0"/>
              <a:t>Individual policy/member records: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dirty="0"/>
              <a:t>Date of Birth, Date of Joining, Date of Exit (if applicable)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dirty="0"/>
              <a:t>Type of Exit (if applicable)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dirty="0"/>
              <a:t>Gender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dirty="0"/>
              <a:t>Factors to enable mortality to be considered for subsets of the population (for example):</a:t>
            </a:r>
          </a:p>
          <a:p>
            <a:pPr marL="1714500" lvl="3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dirty="0"/>
              <a:t>Policy Type</a:t>
            </a:r>
          </a:p>
          <a:p>
            <a:pPr marL="1714500" lvl="3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dirty="0"/>
              <a:t>Policy Amount</a:t>
            </a:r>
          </a:p>
          <a:p>
            <a:pPr marL="1714500" lvl="3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dirty="0"/>
              <a:t>Socio-economic data 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40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40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40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40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4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24392" y="6597352"/>
            <a:ext cx="2311400" cy="196131"/>
          </a:xfrm>
        </p:spPr>
        <p:txBody>
          <a:bodyPr/>
          <a:lstStyle/>
          <a:p>
            <a:fld id="{98480D6B-9298-4DBB-815E-BAAEC977312C}" type="slidenum">
              <a:rPr lang="en-GB" altLang="en-US" smtClean="0"/>
              <a:pPr/>
              <a:t>11</a:t>
            </a:fld>
            <a:endParaRPr lang="en-GB" alt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9ACA1E-9672-B73A-02B8-ED2C384D82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5969" y="775252"/>
            <a:ext cx="1005607" cy="100560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1CD18CE-8A50-FE92-5FC6-139E87586C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6692" y="178352"/>
            <a:ext cx="1803400" cy="59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8819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51384" y="276544"/>
            <a:ext cx="99317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b="1" dirty="0"/>
              <a:t>Timelines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45480" y="1056628"/>
            <a:ext cx="10510489" cy="93256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100" dirty="0"/>
              <a:t>Initial preparation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100" dirty="0"/>
              <a:t>Project administration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100" dirty="0"/>
              <a:t>Discussions with stakeholders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100" dirty="0"/>
              <a:t>Data requests 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100" dirty="0"/>
              <a:t>Workshops/ project outline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100" dirty="0"/>
              <a:t>Data phase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100" dirty="0"/>
              <a:t>Collection of data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100" dirty="0"/>
              <a:t>Data analysis/ data querie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100" dirty="0"/>
              <a:t>Data summary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100" dirty="0"/>
              <a:t>Analysi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100" dirty="0"/>
              <a:t>Result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100" dirty="0"/>
              <a:t>Workshops/ Launch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GB" sz="240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40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40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40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40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40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4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24392" y="6597352"/>
            <a:ext cx="2311400" cy="196131"/>
          </a:xfrm>
        </p:spPr>
        <p:txBody>
          <a:bodyPr/>
          <a:lstStyle/>
          <a:p>
            <a:fld id="{98480D6B-9298-4DBB-815E-BAAEC977312C}" type="slidenum">
              <a:rPr lang="en-GB" altLang="en-US" smtClean="0"/>
              <a:pPr/>
              <a:t>12</a:t>
            </a:fld>
            <a:endParaRPr lang="en-GB" alt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9ACA1E-9672-B73A-02B8-ED2C384D82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5969" y="775252"/>
            <a:ext cx="1005607" cy="100560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1CD18CE-8A50-FE92-5FC6-139E87586C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6692" y="178352"/>
            <a:ext cx="1803400" cy="59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3602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51384" y="276544"/>
            <a:ext cx="99317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b="1" dirty="0"/>
              <a:t>Who we ar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45480" y="1056627"/>
            <a:ext cx="10619072" cy="62170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b="1" dirty="0"/>
              <a:t>Team Leaders: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b="1" dirty="0"/>
              <a:t>Laura Llewellyn-Jones FIA FNAS </a:t>
            </a:r>
            <a:r>
              <a:rPr lang="en-GB" sz="2400" dirty="0"/>
              <a:t>Director of Callund Consulting Limited currently based in Nigeria. Laura has been focused mainly on African clients for over a decade, and has lived in East, West &amp; South Africa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b="1" dirty="0"/>
              <a:t>Rosemary Nantambi, BStat </a:t>
            </a:r>
            <a:r>
              <a:rPr lang="en-GB" sz="2400" dirty="0"/>
              <a:t>Director of Callund Consulting Limited, Director of African Operations, based in Kampala, with over 20 years pensions and actuarial consulting experience 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b="1" dirty="0">
                <a:latin typeface="+mj-lt"/>
              </a:rPr>
              <a:t>Jon Palin FIA </a:t>
            </a:r>
            <a:r>
              <a:rPr lang="en-GB" sz="2400" dirty="0">
                <a:latin typeface="+mj-lt"/>
              </a:rPr>
              <a:t>Partner and Senior Longevity Consultant at Barnett Waddingham LLP in the UK. </a:t>
            </a:r>
            <a:r>
              <a:rPr lang="en-GB" sz="2400" dirty="0">
                <a:effectLst/>
                <a:latin typeface="+mj-lt"/>
                <a:ea typeface="Times New Roman" panose="02020603050405020304" pitchFamily="18" charset="0"/>
              </a:rPr>
              <a:t>He advises a range of clients on longevity, including base mortality assumptions and variations between different populations, and mortality projections, including stochastic models</a:t>
            </a:r>
            <a:endParaRPr lang="en-GB" sz="2400" dirty="0">
              <a:latin typeface="+mj-lt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000" dirty="0">
                <a:latin typeface="+mj-lt"/>
              </a:rPr>
              <a:t>In addition, we have additional team leaders who are qualified actuaries, as well as a team of analysts who specialise in mortality and morbidity tables, and who work closely with the Continuous Mortality Investigation (CMI) in the UK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4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24392" y="6597352"/>
            <a:ext cx="2311400" cy="196131"/>
          </a:xfrm>
        </p:spPr>
        <p:txBody>
          <a:bodyPr/>
          <a:lstStyle/>
          <a:p>
            <a:fld id="{98480D6B-9298-4DBB-815E-BAAEC977312C}" type="slidenum">
              <a:rPr lang="en-GB" altLang="en-US" smtClean="0"/>
              <a:pPr/>
              <a:t>2</a:t>
            </a:fld>
            <a:endParaRPr lang="en-GB" alt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9ACA1E-9672-B73A-02B8-ED2C384D82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5969" y="775252"/>
            <a:ext cx="1005607" cy="100560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1CD18CE-8A50-FE92-5FC6-139E87586C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6692" y="178352"/>
            <a:ext cx="1803400" cy="5969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6E5C371-9584-BFBF-02F5-3C0A624851B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0287" y="1694951"/>
            <a:ext cx="1238981" cy="120693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C5AF28B-606F-A08E-B586-AA8F2F22D3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30756" y="4528049"/>
            <a:ext cx="1270000" cy="1270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EA33648-D270-8835-4B1A-70E3830FC2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65792" y="3093746"/>
            <a:ext cx="1270000" cy="1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5520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51384" y="276544"/>
            <a:ext cx="99317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b="1" dirty="0"/>
              <a:t>Recent experienc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44684" y="1494526"/>
            <a:ext cx="10619072" cy="4955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200" dirty="0"/>
              <a:t>Supporting the Continuous Mortality Investigation (CMI) owned by IFOA (BW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200" dirty="0"/>
              <a:t>Mortality Tables for Egypt            (BW), the first mortality tables for the industry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200" dirty="0"/>
              <a:t>Mortality Tables for Kazakhstan              (CCL, BW), this included mortality experiences for various subsets of the population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200" dirty="0"/>
              <a:t>Mortality Tables for Rwanda               (CCL, BW), first industry table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200" dirty="0"/>
              <a:t>Old Age Mortality (BW) advising several UK insurance companies on mortality assumptions at older ages where there is limited reliable data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200" dirty="0"/>
              <a:t>Stochastic models and Solvency II (BW) – assisting a major insurer to review existing stochastic longevity models (used for its capital requirements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40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4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24392" y="6597352"/>
            <a:ext cx="2311400" cy="196131"/>
          </a:xfrm>
        </p:spPr>
        <p:txBody>
          <a:bodyPr/>
          <a:lstStyle/>
          <a:p>
            <a:fld id="{98480D6B-9298-4DBB-815E-BAAEC977312C}" type="slidenum">
              <a:rPr lang="en-GB" altLang="en-US" smtClean="0"/>
              <a:pPr/>
              <a:t>3</a:t>
            </a:fld>
            <a:endParaRPr lang="en-GB" alt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9ACA1E-9672-B73A-02B8-ED2C384D82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5969" y="775252"/>
            <a:ext cx="1005607" cy="100560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1CD18CE-8A50-FE92-5FC6-139E87586C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6692" y="178352"/>
            <a:ext cx="1803400" cy="5969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06E6FC8-6BC8-C20E-EEA1-7CB06D9B83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94685" y="1939075"/>
            <a:ext cx="765602" cy="51178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543FD14-7246-B450-4B19-72711EAD45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5894" y="2450864"/>
            <a:ext cx="765603" cy="44477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9F21D4A-68D4-EF84-B69A-2564A5F1A7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39815" y="3284984"/>
            <a:ext cx="765603" cy="51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3869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51384" y="276544"/>
            <a:ext cx="99317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b="1" dirty="0"/>
              <a:t>Importance of Mortality Table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77642" y="942529"/>
            <a:ext cx="10619072" cy="49705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000000"/>
              </a:solidFill>
              <a:effectLst/>
              <a:latin typeface="+mj-lt"/>
              <a:ea typeface="Times New Roman" panose="02020603050405020304" pitchFamily="18" charset="0"/>
            </a:endParaRPr>
          </a:p>
          <a:p>
            <a:pPr marL="342900" lvl="0" indent="-342900" algn="just">
              <a:buFont typeface="Symbol" pitchFamily="2" charset="2"/>
              <a:buChar char=""/>
            </a:pPr>
            <a:r>
              <a:rPr lang="en-US" sz="24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</a:rPr>
              <a:t>Robust and relevant mortality tables allow more accurate actuarial modelling and reserving, which will better protect policyholders</a:t>
            </a:r>
            <a:endParaRPr lang="en-US" sz="2400" dirty="0">
              <a:solidFill>
                <a:srgbClr val="000000"/>
              </a:solidFill>
              <a:effectLst/>
              <a:latin typeface="+mj-lt"/>
              <a:ea typeface="Times New Roman" panose="02020603050405020304" pitchFamily="18" charset="0"/>
            </a:endParaRPr>
          </a:p>
          <a:p>
            <a:pPr marL="342900" lvl="0" indent="-342900" algn="just">
              <a:buFont typeface="Symbol" pitchFamily="2" charset="2"/>
              <a:buChar char=""/>
            </a:pPr>
            <a:endParaRPr lang="en-US" sz="2400" dirty="0">
              <a:solidFill>
                <a:srgbClr val="000000"/>
              </a:solidFill>
              <a:effectLst/>
              <a:latin typeface="+mj-lt"/>
              <a:ea typeface="Times New Roman" panose="02020603050405020304" pitchFamily="18" charset="0"/>
            </a:endParaRPr>
          </a:p>
          <a:p>
            <a:pPr marL="342900" lvl="0" indent="-342900" algn="just">
              <a:buFont typeface="Symbol" pitchFamily="2" charset="2"/>
              <a:buChar char=""/>
            </a:pPr>
            <a:r>
              <a:rPr lang="en-US" sz="24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</a:rPr>
              <a:t>Increase trust within these industries</a:t>
            </a:r>
          </a:p>
          <a:p>
            <a:pPr lvl="0" algn="just"/>
            <a:endParaRPr lang="en-ZA" sz="2400" dirty="0">
              <a:effectLst/>
              <a:latin typeface="+mj-lt"/>
              <a:ea typeface="Times New Roman" panose="02020603050405020304" pitchFamily="18" charset="0"/>
            </a:endParaRPr>
          </a:p>
          <a:p>
            <a:pPr marL="342900" lvl="0" indent="-342900" algn="just">
              <a:buFont typeface="Symbol" pitchFamily="2" charset="2"/>
              <a:buChar char=""/>
            </a:pPr>
            <a:r>
              <a:rPr lang="en-US" sz="24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</a:rPr>
              <a:t>They can enhance product development, as well as creating more stability as companies are better able to manage their risks</a:t>
            </a:r>
          </a:p>
          <a:p>
            <a:pPr lvl="0" algn="just"/>
            <a:endParaRPr lang="en-ZA" sz="2400" dirty="0">
              <a:effectLst/>
              <a:latin typeface="+mj-lt"/>
              <a:ea typeface="Times New Roman" panose="02020603050405020304" pitchFamily="18" charset="0"/>
            </a:endParaRPr>
          </a:p>
          <a:p>
            <a:pPr marL="342900" lvl="0" indent="-342900" algn="just">
              <a:buFont typeface="Symbol" pitchFamily="2" charset="2"/>
              <a:buChar char=""/>
            </a:pPr>
            <a:r>
              <a:rPr lang="en-US" sz="2400" dirty="0">
                <a:solidFill>
                  <a:srgbClr val="000000"/>
                </a:solidFill>
                <a:effectLst/>
                <a:latin typeface="+mj-lt"/>
                <a:ea typeface="Times New Roman" panose="02020603050405020304" pitchFamily="18" charset="0"/>
              </a:rPr>
              <a:t>Out of date, irrelevant or inaccurate mortality tables can impede the expansion of the industry by forcing additional risk loadings to be included in the premium pricing</a:t>
            </a:r>
            <a:endParaRPr lang="en-GB" sz="240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4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24392" y="6597352"/>
            <a:ext cx="2311400" cy="196131"/>
          </a:xfrm>
        </p:spPr>
        <p:txBody>
          <a:bodyPr/>
          <a:lstStyle/>
          <a:p>
            <a:fld id="{98480D6B-9298-4DBB-815E-BAAEC977312C}" type="slidenum">
              <a:rPr lang="en-GB" altLang="en-US" smtClean="0"/>
              <a:pPr/>
              <a:t>4</a:t>
            </a:fld>
            <a:endParaRPr lang="en-GB" alt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9ACA1E-9672-B73A-02B8-ED2C384D82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5969" y="775252"/>
            <a:ext cx="1005607" cy="100560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1CD18CE-8A50-FE92-5FC6-139E87586C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6692" y="178352"/>
            <a:ext cx="1803400" cy="59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8302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51384" y="276544"/>
            <a:ext cx="99317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b="1" dirty="0"/>
              <a:t>Why new Tables?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45480" y="1056627"/>
            <a:ext cx="10619072" cy="655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 dirty="0">
                <a:latin typeface="+mj-lt"/>
              </a:rPr>
              <a:t>Mortality Tables are an essential, if somewhat hidden, part of the life and social insurance infrastructure in every country where there are life and retirement product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GB" sz="2400" dirty="0">
              <a:latin typeface="+mj-lt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 dirty="0">
                <a:latin typeface="+mj-lt"/>
              </a:rPr>
              <a:t>The existence of local tables that are kept up-to-date aid </a:t>
            </a:r>
            <a:r>
              <a:rPr lang="en-GB" sz="2400" b="1" dirty="0">
                <a:latin typeface="+mj-lt"/>
              </a:rPr>
              <a:t>credibility</a:t>
            </a:r>
            <a:r>
              <a:rPr lang="en-GB" sz="2400" dirty="0">
                <a:latin typeface="+mj-lt"/>
              </a:rPr>
              <a:t> and growth of the life and retirement sector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GB" sz="2400" dirty="0">
              <a:latin typeface="+mj-lt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2400" dirty="0">
                <a:latin typeface="+mj-lt"/>
              </a:rPr>
              <a:t>Life expectancy has changed significantly over time as well as between different countries. Detailed analysis by ‘</a:t>
            </a:r>
            <a:r>
              <a:rPr lang="en-GB" sz="2400" dirty="0">
                <a:solidFill>
                  <a:srgbClr val="0070C0"/>
                </a:solidFill>
                <a:latin typeface="+mj-lt"/>
              </a:rPr>
              <a:t>Our World in Data</a:t>
            </a:r>
            <a:r>
              <a:rPr lang="en-GB" sz="2400" dirty="0">
                <a:latin typeface="+mj-lt"/>
              </a:rPr>
              <a:t>’ – which sources data from the United Nations, Department of Economic and Social Affairs, Population Division (2022), World Population Prospects 2022, Estimates of Regional and Global Life Expectancy 1800-2001, Population Development Review 31(3)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GB" sz="2400" dirty="0">
              <a:latin typeface="+mj-lt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GB" sz="24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24392" y="6597352"/>
            <a:ext cx="2311400" cy="196131"/>
          </a:xfrm>
        </p:spPr>
        <p:txBody>
          <a:bodyPr/>
          <a:lstStyle/>
          <a:p>
            <a:fld id="{98480D6B-9298-4DBB-815E-BAAEC977312C}" type="slidenum">
              <a:rPr lang="en-GB" altLang="en-US" smtClean="0"/>
              <a:pPr/>
              <a:t>5</a:t>
            </a:fld>
            <a:endParaRPr lang="en-GB" alt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9ACA1E-9672-B73A-02B8-ED2C384D82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5969" y="775252"/>
            <a:ext cx="1005607" cy="100560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1CD18CE-8A50-FE92-5FC6-139E87586C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6692" y="178352"/>
            <a:ext cx="1803400" cy="59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7167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51384" y="276544"/>
            <a:ext cx="99317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b="1" dirty="0"/>
              <a:t>Our World in Data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45480" y="1056627"/>
            <a:ext cx="10619072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endParaRPr lang="en-GB" sz="2400" dirty="0">
              <a:latin typeface="+mj-lt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GB" sz="24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24392" y="6597352"/>
            <a:ext cx="2311400" cy="196131"/>
          </a:xfrm>
        </p:spPr>
        <p:txBody>
          <a:bodyPr/>
          <a:lstStyle/>
          <a:p>
            <a:fld id="{98480D6B-9298-4DBB-815E-BAAEC977312C}" type="slidenum">
              <a:rPr lang="en-GB" altLang="en-US" smtClean="0"/>
              <a:pPr/>
              <a:t>6</a:t>
            </a:fld>
            <a:endParaRPr lang="en-GB" alt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9ACA1E-9672-B73A-02B8-ED2C384D82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5969" y="775252"/>
            <a:ext cx="1005607" cy="100560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1CD18CE-8A50-FE92-5FC6-139E87586C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6692" y="178352"/>
            <a:ext cx="1803400" cy="5969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AE61F33-937A-64ED-2929-5A65FE4C7CD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1784" y="1204251"/>
            <a:ext cx="5907160" cy="459712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E86985C-A556-6456-4087-B6E821F65438}"/>
              </a:ext>
            </a:extLst>
          </p:cNvPr>
          <p:cNvSpPr txBox="1"/>
          <p:nvPr/>
        </p:nvSpPr>
        <p:spPr>
          <a:xfrm>
            <a:off x="445480" y="1270215"/>
            <a:ext cx="3202247" cy="49859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/>
              <a:t>Graph illustrates life expectancy differences between 1980 and 2021</a:t>
            </a:r>
          </a:p>
          <a:p>
            <a:endParaRPr lang="en-GB" sz="2000" dirty="0"/>
          </a:p>
          <a:p>
            <a:r>
              <a:rPr lang="en-GB" sz="2000" dirty="0"/>
              <a:t>Algeria: 53.3 to 76.4 (+23.1)</a:t>
            </a:r>
          </a:p>
          <a:p>
            <a:endParaRPr lang="en-GB" sz="2000" dirty="0"/>
          </a:p>
          <a:p>
            <a:r>
              <a:rPr lang="en-GB" sz="2000" dirty="0"/>
              <a:t>South Africa: 59.8 to 62.3</a:t>
            </a:r>
          </a:p>
          <a:p>
            <a:r>
              <a:rPr lang="en-GB" sz="2000" dirty="0"/>
              <a:t>(+2.5)</a:t>
            </a:r>
          </a:p>
          <a:p>
            <a:endParaRPr lang="en-GB" sz="2000" dirty="0"/>
          </a:p>
          <a:p>
            <a:r>
              <a:rPr lang="en-GB" sz="2000" dirty="0"/>
              <a:t>Nigeria: 46.3 to 52.7</a:t>
            </a:r>
          </a:p>
          <a:p>
            <a:r>
              <a:rPr lang="en-GB" sz="2000" dirty="0"/>
              <a:t>(+6.4)</a:t>
            </a:r>
          </a:p>
          <a:p>
            <a:endParaRPr lang="en-GB" sz="2000" dirty="0"/>
          </a:p>
          <a:p>
            <a:r>
              <a:rPr lang="en-GB" sz="2000" dirty="0"/>
              <a:t>Kenya: 58.5 to 61.4</a:t>
            </a:r>
          </a:p>
          <a:p>
            <a:r>
              <a:rPr lang="en-GB" sz="2000" dirty="0"/>
              <a:t>(+2.9)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73206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51384" y="276544"/>
            <a:ext cx="99317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b="1" dirty="0"/>
              <a:t>Example – pandemic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22248" y="761668"/>
            <a:ext cx="1061907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000000"/>
              </a:solidFill>
              <a:effectLst/>
              <a:latin typeface="+mj-lt"/>
              <a:ea typeface="Times New Roman" panose="02020603050405020304" pitchFamily="18" charset="0"/>
            </a:endParaRPr>
          </a:p>
          <a:p>
            <a:pPr lvl="0" algn="just"/>
            <a:r>
              <a:rPr lang="en-US" sz="2400" dirty="0">
                <a:solidFill>
                  <a:srgbClr val="000000"/>
                </a:solidFill>
                <a:latin typeface="+mj-lt"/>
              </a:rPr>
              <a:t>Comparing experience in 2019 with 2020 (large pension plan in Ecuador): </a:t>
            </a:r>
          </a:p>
          <a:p>
            <a:pPr lvl="0" algn="just"/>
            <a:endParaRPr lang="en-US" sz="2400" dirty="0">
              <a:solidFill>
                <a:srgbClr val="000000"/>
              </a:solidFill>
              <a:latin typeface="+mj-lt"/>
            </a:endParaRPr>
          </a:p>
          <a:p>
            <a:pPr lvl="0" algn="just"/>
            <a:endParaRPr lang="en-US" sz="2400" dirty="0">
              <a:solidFill>
                <a:srgbClr val="000000"/>
              </a:solidFill>
              <a:latin typeface="+mj-lt"/>
            </a:endParaRPr>
          </a:p>
          <a:p>
            <a:pPr lvl="0" algn="just"/>
            <a:endParaRPr lang="en-GB" sz="24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24392" y="6597352"/>
            <a:ext cx="2311400" cy="196131"/>
          </a:xfrm>
        </p:spPr>
        <p:txBody>
          <a:bodyPr/>
          <a:lstStyle/>
          <a:p>
            <a:fld id="{98480D6B-9298-4DBB-815E-BAAEC977312C}" type="slidenum">
              <a:rPr lang="en-GB" altLang="en-US" smtClean="0"/>
              <a:pPr/>
              <a:t>7</a:t>
            </a:fld>
            <a:endParaRPr lang="en-GB" alt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9ACA1E-9672-B73A-02B8-ED2C384D82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5969" y="775252"/>
            <a:ext cx="1005607" cy="100560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1CD18CE-8A50-FE92-5FC6-139E87586C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6692" y="178352"/>
            <a:ext cx="1803400" cy="596900"/>
          </a:xfrm>
          <a:prstGeom prst="rect">
            <a:avLst/>
          </a:prstGeom>
        </p:spPr>
      </p:pic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EE653056-958F-4048-A073-B79CEAF45F9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889710"/>
              </p:ext>
            </p:extLst>
          </p:nvPr>
        </p:nvGraphicFramePr>
        <p:xfrm>
          <a:off x="4359472" y="1871560"/>
          <a:ext cx="7099300" cy="444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0D297B6C-F701-F613-FA5F-FCACA97DF972}"/>
              </a:ext>
            </a:extLst>
          </p:cNvPr>
          <p:cNvSpPr txBox="1"/>
          <p:nvPr/>
        </p:nvSpPr>
        <p:spPr>
          <a:xfrm>
            <a:off x="551384" y="2132856"/>
            <a:ext cx="3168352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>
                <a:latin typeface="+mj-lt"/>
              </a:rPr>
              <a:t>Analysing Actual over Expected deaths – can illustrate how well a mortality table fits the policy/ membership data</a:t>
            </a:r>
          </a:p>
          <a:p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00"/>
                </a:solidFill>
                <a:latin typeface="+mj-lt"/>
              </a:rPr>
              <a:t>The table used here in 2019 is a reasonable fit,  except at older ages (over 90) where there is less data</a:t>
            </a:r>
          </a:p>
          <a:p>
            <a:endParaRPr lang="en-US" dirty="0">
              <a:solidFill>
                <a:srgbClr val="0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038334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51384" y="276544"/>
            <a:ext cx="99317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b="1" dirty="0"/>
              <a:t>Example – pandemic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22248" y="536695"/>
            <a:ext cx="1061907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algn="just">
              <a:buFont typeface="Arial" panose="020B0604020202020204" pitchFamily="34" charset="0"/>
              <a:buChar char="•"/>
            </a:pPr>
            <a:endParaRPr lang="en-US" sz="2400" dirty="0">
              <a:solidFill>
                <a:srgbClr val="000000"/>
              </a:solidFill>
              <a:effectLst/>
              <a:latin typeface="+mj-lt"/>
              <a:ea typeface="Times New Roman" panose="02020603050405020304" pitchFamily="18" charset="0"/>
            </a:endParaRPr>
          </a:p>
          <a:p>
            <a:pPr lvl="0" algn="just"/>
            <a:r>
              <a:rPr lang="en-US" sz="2400" dirty="0">
                <a:solidFill>
                  <a:srgbClr val="000000"/>
                </a:solidFill>
                <a:latin typeface="+mj-lt"/>
              </a:rPr>
              <a:t>Comparing experience in 2019 with 2020: </a:t>
            </a:r>
          </a:p>
          <a:p>
            <a:pPr lvl="0" algn="just"/>
            <a:endParaRPr lang="en-US" sz="2400" dirty="0">
              <a:solidFill>
                <a:srgbClr val="000000"/>
              </a:solidFill>
              <a:latin typeface="+mj-lt"/>
            </a:endParaRPr>
          </a:p>
          <a:p>
            <a:pPr lvl="0" algn="just"/>
            <a:endParaRPr lang="en-US" sz="2400" dirty="0">
              <a:solidFill>
                <a:srgbClr val="000000"/>
              </a:solidFill>
              <a:latin typeface="+mj-lt"/>
            </a:endParaRPr>
          </a:p>
          <a:p>
            <a:pPr lvl="0" algn="just"/>
            <a:endParaRPr lang="en-GB" sz="24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24392" y="6597352"/>
            <a:ext cx="2311400" cy="196131"/>
          </a:xfrm>
        </p:spPr>
        <p:txBody>
          <a:bodyPr/>
          <a:lstStyle/>
          <a:p>
            <a:fld id="{98480D6B-9298-4DBB-815E-BAAEC977312C}" type="slidenum">
              <a:rPr lang="en-GB" altLang="en-US" smtClean="0"/>
              <a:pPr/>
              <a:t>8</a:t>
            </a:fld>
            <a:endParaRPr lang="en-GB" alt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9ACA1E-9672-B73A-02B8-ED2C384D82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5969" y="775252"/>
            <a:ext cx="1005607" cy="100560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1CD18CE-8A50-FE92-5FC6-139E87586C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6692" y="178352"/>
            <a:ext cx="1803400" cy="5969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D297B6C-F701-F613-FA5F-FCACA97DF972}"/>
              </a:ext>
            </a:extLst>
          </p:cNvPr>
          <p:cNvSpPr txBox="1"/>
          <p:nvPr/>
        </p:nvSpPr>
        <p:spPr>
          <a:xfrm>
            <a:off x="622248" y="1506191"/>
            <a:ext cx="3168352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  <a:latin typeface="+mj-lt"/>
              </a:rPr>
              <a:t>Data from 2020 shows higher deaths than expected from the standard table </a:t>
            </a:r>
          </a:p>
          <a:p>
            <a:endParaRPr lang="en-US" dirty="0">
              <a:solidFill>
                <a:srgbClr val="000000"/>
              </a:solidFill>
              <a:latin typeface="+mj-lt"/>
            </a:endParaRPr>
          </a:p>
          <a:p>
            <a:r>
              <a:rPr lang="en-US" dirty="0">
                <a:solidFill>
                  <a:srgbClr val="000000"/>
                </a:solidFill>
                <a:latin typeface="+mj-lt"/>
              </a:rPr>
              <a:t>International experience has shown excess deaths have continued after the pandemic – detailed analysis is looking at factors which have impacted this – such as pressure on health systems, delayed care, less screening/ preventative care – however we would expect the data to return to the pre-pandemic state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59B3EFE6-8C1D-C942-8558-7E94A6B8AB6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5440059"/>
              </p:ext>
            </p:extLst>
          </p:nvPr>
        </p:nvGraphicFramePr>
        <p:xfrm>
          <a:off x="4142020" y="1937261"/>
          <a:ext cx="7099300" cy="444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7362789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51384" y="276544"/>
            <a:ext cx="99317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b="1" dirty="0"/>
              <a:t>Importance of Data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45480" y="1056627"/>
            <a:ext cx="10619072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dirty="0"/>
              <a:t>One of the biggest challenges is obtaining </a:t>
            </a:r>
            <a:r>
              <a:rPr lang="en-GB" sz="2400" b="1" dirty="0"/>
              <a:t>sufficient data of a high quality </a:t>
            </a:r>
            <a:r>
              <a:rPr lang="en-GB" sz="2400" dirty="0"/>
              <a:t>in order to achieve statistically credible result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dirty="0"/>
              <a:t>We have experience in working with challenging data sets, however the better the quality of the data, the more accurate the tables will be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dirty="0"/>
              <a:t>We would also compare our findings with other relevant tables </a:t>
            </a:r>
          </a:p>
          <a:p>
            <a:pPr marL="8001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2400" dirty="0"/>
              <a:t>e.g. UK, South Africa, Egypt, CIMA, Kenya, Uganda, Rwanda and other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400" dirty="0"/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GB" sz="24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24392" y="6597352"/>
            <a:ext cx="2311400" cy="196131"/>
          </a:xfrm>
        </p:spPr>
        <p:txBody>
          <a:bodyPr/>
          <a:lstStyle/>
          <a:p>
            <a:fld id="{98480D6B-9298-4DBB-815E-BAAEC977312C}" type="slidenum">
              <a:rPr lang="en-GB" altLang="en-US" smtClean="0"/>
              <a:pPr/>
              <a:t>9</a:t>
            </a:fld>
            <a:endParaRPr lang="en-GB" alt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9ACA1E-9672-B73A-02B8-ED2C384D82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5969" y="775252"/>
            <a:ext cx="1005607" cy="100560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1CD18CE-8A50-FE92-5FC6-139E87586C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6692" y="178352"/>
            <a:ext cx="1803400" cy="59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2267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3proj6IkKkYcVbwDdP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bNiOSsfk.UcMpAJhXV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5J4afSpkEOJnSqfFdK89Q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sz="2000" dirty="0" smtClean="0">
            <a:ln w="0"/>
            <a:solidFill>
              <a:schemeClr val="tx1"/>
            </a:solidFill>
            <a:effectLst>
              <a:outerShdw blurRad="38100" dist="19050" dir="2700000" algn="tl" rotWithShape="0">
                <a:schemeClr val="dk1">
                  <a:alpha val="40000"/>
                </a:schemeClr>
              </a:outerShdw>
            </a:effectLst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901</TotalTime>
  <Words>922</Words>
  <Application>Microsoft Macintosh PowerPoint</Application>
  <PresentationFormat>Widescreen</PresentationFormat>
  <Paragraphs>133</Paragraphs>
  <Slides>1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Symbol</vt:lpstr>
      <vt:lpstr>Times New Roman</vt:lpstr>
      <vt:lpstr>Wingdings</vt:lpstr>
      <vt:lpstr>Default 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iram Gordillo</dc:creator>
  <cp:lastModifiedBy>Laura Llewellyn-Jones</cp:lastModifiedBy>
  <cp:revision>366</cp:revision>
  <cp:lastPrinted>2023-05-26T12:15:52Z</cp:lastPrinted>
  <dcterms:created xsi:type="dcterms:W3CDTF">2013-05-19T20:57:40Z</dcterms:created>
  <dcterms:modified xsi:type="dcterms:W3CDTF">2023-05-27T14:00:20Z</dcterms:modified>
</cp:coreProperties>
</file>